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DA2EA294-131D-4486-BAF3-3EECCFFA441A}">
          <p14:sldIdLst>
            <p14:sldId id="2147475173"/>
            <p14:sldId id="2147475174"/>
            <p14:sldId id="2147475175"/>
            <p14:sldId id="2147475176"/>
            <p14:sldId id="2147475177"/>
            <p14:sldId id="2147475178"/>
          </p14:sldIdLst>
        </p14:section>
        <p14:section name="Brackets By Retailer By Sector" id="{C8EDA37D-4CE3-4957-BE37-1038D1DCC04C}">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8823285A-B1C1-4E10-B05D-A5D2B839A57B}">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7120963405814161E-2</c:v>
                </c:pt>
                <c:pt idx="1">
                  <c:v>7.3723027864980917E-2</c:v>
                </c:pt>
                <c:pt idx="2">
                  <c:v>0.12766201692065168</c:v>
                </c:pt>
                <c:pt idx="3">
                  <c:v>0.23425237068395854</c:v>
                </c:pt>
                <c:pt idx="4">
                  <c:v>0.38278733061914982</c:v>
                </c:pt>
                <c:pt idx="5">
                  <c:v>0.15359411735454917</c:v>
                </c:pt>
                <c:pt idx="6">
                  <c:v>8.6017315089557554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0812154895849335E-2</c:v>
                </c:pt>
                <c:pt idx="2">
                  <c:v>5.3404629914445435E-3</c:v>
                </c:pt>
                <c:pt idx="3">
                  <c:v>7.061419370462419E-4</c:v>
                </c:pt>
                <c:pt idx="4">
                  <c:v>7.9589139735811946E-3</c:v>
                </c:pt>
                <c:pt idx="5">
                  <c:v>1.40489488263383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942843330246545E-3</c:v>
                </c:pt>
                <c:pt idx="2">
                  <c:v>9.7506639456964889E-2</c:v>
                </c:pt>
                <c:pt idx="3">
                  <c:v>0.19168329326666833</c:v>
                </c:pt>
                <c:pt idx="4">
                  <c:v>0.56953386976592013</c:v>
                </c:pt>
                <c:pt idx="5">
                  <c:v>0.10787061450752936</c:v>
                </c:pt>
                <c:pt idx="6">
                  <c:v>3.011129866989259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8E-2</c:v>
                </c:pt>
                <c:pt idx="4">
                  <c:v>0.89021699739939097</c:v>
                </c:pt>
                <c:pt idx="5">
                  <c:v>7.281595130021549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2E-2</c:v>
                </c:pt>
                <c:pt idx="4">
                  <c:v>0.83839550714659039</c:v>
                </c:pt>
                <c:pt idx="5">
                  <c:v>0.124722794751214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19687086370011E-2</c:v>
                </c:pt>
                <c:pt idx="1">
                  <c:v>0.15610494674537898</c:v>
                </c:pt>
                <c:pt idx="2">
                  <c:v>2.4983151768837048E-2</c:v>
                </c:pt>
                <c:pt idx="3">
                  <c:v>0.33241322699595138</c:v>
                </c:pt>
                <c:pt idx="4">
                  <c:v>0.44155358609005096</c:v>
                </c:pt>
                <c:pt idx="5">
                  <c:v>1.54219990674024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21926824658941E-2</c:v>
                </c:pt>
                <c:pt idx="1">
                  <c:v>8.8029163127424148E-2</c:v>
                </c:pt>
                <c:pt idx="2">
                  <c:v>0.14284168638962264</c:v>
                </c:pt>
                <c:pt idx="3">
                  <c:v>0.22197384656282371</c:v>
                </c:pt>
                <c:pt idx="4">
                  <c:v>0.36551887254863047</c:v>
                </c:pt>
                <c:pt idx="5">
                  <c:v>0.1485237048277909</c:v>
                </c:pt>
                <c:pt idx="6">
                  <c:v>3.890799719049167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295936018988206E-2</c:v>
                </c:pt>
                <c:pt idx="1">
                  <c:v>0.15937207117371921</c:v>
                </c:pt>
                <c:pt idx="2">
                  <c:v>3.7684488257838142E-2</c:v>
                </c:pt>
                <c:pt idx="3">
                  <c:v>0.26112921429863639</c:v>
                </c:pt>
                <c:pt idx="4">
                  <c:v>0.46450291190561643</c:v>
                </c:pt>
                <c:pt idx="5">
                  <c:v>1.435125678176883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244581526303865E-3</c:v>
                </c:pt>
                <c:pt idx="1">
                  <c:v>0.13194345924355352</c:v>
                </c:pt>
                <c:pt idx="2">
                  <c:v>1.9551950596549565E-2</c:v>
                </c:pt>
                <c:pt idx="3">
                  <c:v>0.39058342036370747</c:v>
                </c:pt>
                <c:pt idx="4">
                  <c:v>0.44053261070710614</c:v>
                </c:pt>
                <c:pt idx="5">
                  <c:v>1.566410093645300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318942391174119E-2</c:v>
                </c:pt>
                <c:pt idx="2">
                  <c:v>5.5137933884248834E-2</c:v>
                </c:pt>
                <c:pt idx="3">
                  <c:v>3.4736686526628133E-2</c:v>
                </c:pt>
                <c:pt idx="4">
                  <c:v>6.7670136525075128E-2</c:v>
                </c:pt>
                <c:pt idx="5">
                  <c:v>1.347828842525293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599</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3883172631490734</c:v>
                </c:pt>
                <c:pt idx="2">
                  <c:v>6.85733513406976E-2</c:v>
                </c:pt>
                <c:pt idx="3">
                  <c:v>8.5199533734594043E-3</c:v>
                </c:pt>
                <c:pt idx="4">
                  <c:v>8.5279185241007888E-2</c:v>
                </c:pt>
                <c:pt idx="5">
                  <c:v>1.80393255300023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3589932450977922E-3</c:v>
                </c:pt>
                <c:pt idx="2">
                  <c:v>3.4910204810488662E-3</c:v>
                </c:pt>
                <c:pt idx="3">
                  <c:v>1.5037313052086358E-3</c:v>
                </c:pt>
                <c:pt idx="4">
                  <c:v>5.3443772155150216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6.450832288352E-2</c:v>
                </c:pt>
                <c:pt idx="3">
                  <c:v>2.7784252533189901E-2</c:v>
                </c:pt>
                <c:pt idx="4">
                  <c:v>9.8743693851477465E-2</c:v>
                </c:pt>
                <c:pt idx="5">
                  <c:v>6.0214131500869192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89228933701E-2</c:v>
                </c:pt>
                <c:pt idx="2">
                  <c:v>4.1137747582242541E-2</c:v>
                </c:pt>
                <c:pt idx="3">
                  <c:v>0.31355241604004941</c:v>
                </c:pt>
                <c:pt idx="4">
                  <c:v>0.55220862714204089</c:v>
                </c:pt>
                <c:pt idx="5">
                  <c:v>6.277131642793784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5</c:v>
                </c:pt>
                <c:pt idx="4">
                  <c:v>0.59387574108439223</c:v>
                </c:pt>
                <c:pt idx="5">
                  <c:v>5.89874561094732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1325297527232E-2</c:v>
                </c:pt>
                <c:pt idx="2">
                  <c:v>6.8177130023839225E-2</c:v>
                </c:pt>
                <c:pt idx="3">
                  <c:v>0.30918181313914184</c:v>
                </c:pt>
                <c:pt idx="4">
                  <c:v>0.54895850601748686</c:v>
                </c:pt>
                <c:pt idx="5">
                  <c:v>5.88440231994877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46000868461034E-3</c:v>
                </c:pt>
                <c:pt idx="1">
                  <c:v>7.9127851355647802E-3</c:v>
                </c:pt>
                <c:pt idx="2">
                  <c:v>9.8833451814382384E-2</c:v>
                </c:pt>
                <c:pt idx="3">
                  <c:v>0.1141714758048413</c:v>
                </c:pt>
                <c:pt idx="4">
                  <c:v>0.38273698753851865</c:v>
                </c:pt>
                <c:pt idx="5">
                  <c:v>0.393290699619846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4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7120963405814161E-2</c:v>
                </c:pt>
                <c:pt idx="1">
                  <c:v>7.3723027864980917E-2</c:v>
                </c:pt>
                <c:pt idx="2">
                  <c:v>0.12766201692065168</c:v>
                </c:pt>
                <c:pt idx="3">
                  <c:v>0.23425237068395854</c:v>
                </c:pt>
                <c:pt idx="4">
                  <c:v>0.38278733061914982</c:v>
                </c:pt>
                <c:pt idx="5">
                  <c:v>0.15359411735454917</c:v>
                </c:pt>
                <c:pt idx="6">
                  <c:v>8.6017315089557554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682222764157067E-3</c:v>
                </c:pt>
                <c:pt idx="1">
                  <c:v>7.8945305898618591E-4</c:v>
                </c:pt>
                <c:pt idx="2">
                  <c:v>9.0252103185351429E-2</c:v>
                </c:pt>
                <c:pt idx="3">
                  <c:v>0.1171313557101295</c:v>
                </c:pt>
                <c:pt idx="4">
                  <c:v>0.39028051997850438</c:v>
                </c:pt>
                <c:pt idx="5">
                  <c:v>0.400478345790612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65385076760837E-2</c:v>
                </c:pt>
                <c:pt idx="1">
                  <c:v>6.769019309011845E-2</c:v>
                </c:pt>
                <c:pt idx="2">
                  <c:v>0.2155827171638198</c:v>
                </c:pt>
                <c:pt idx="3">
                  <c:v>0.48406983154121125</c:v>
                </c:pt>
                <c:pt idx="4">
                  <c:v>0.20698825809317256</c:v>
                </c:pt>
                <c:pt idx="5">
                  <c:v>1.05036150349171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1</c:v>
                </c:pt>
                <c:pt idx="5">
                  <c:v>1.388755536428036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301996601009916E-2</c:v>
                </c:pt>
                <c:pt idx="1">
                  <c:v>7.1126025878935378E-2</c:v>
                </c:pt>
                <c:pt idx="2">
                  <c:v>0.23033524417359652</c:v>
                </c:pt>
                <c:pt idx="3">
                  <c:v>0.46134285060537805</c:v>
                </c:pt>
                <c:pt idx="4">
                  <c:v>0.19716732528025699</c:v>
                </c:pt>
                <c:pt idx="5">
                  <c:v>1.472655746082315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810004802424E-3</c:v>
                </c:pt>
                <c:pt idx="2">
                  <c:v>6.5371844667268725E-2</c:v>
                </c:pt>
                <c:pt idx="3">
                  <c:v>0.18285905725428619</c:v>
                </c:pt>
                <c:pt idx="4">
                  <c:v>0.5880937669185049</c:v>
                </c:pt>
                <c:pt idx="5">
                  <c:v>0.1576957924175024</c:v>
                </c:pt>
                <c:pt idx="6">
                  <c:v>3.970535465747346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7289708839215065E-3</c:v>
                </c:pt>
                <c:pt idx="4">
                  <c:v>6.22312909940783E-3</c:v>
                </c:pt>
                <c:pt idx="5">
                  <c:v>5.29272524214936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22</c:v>
                </c:pt>
                <c:pt idx="4">
                  <c:v>0.56644603950565164</c:v>
                </c:pt>
                <c:pt idx="5">
                  <c:v>0.19549927143426438</c:v>
                </c:pt>
                <c:pt idx="6">
                  <c:v>8.1053550458520243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942843330246545E-3</c:v>
                </c:pt>
                <c:pt idx="2">
                  <c:v>9.7506639456964889E-2</c:v>
                </c:pt>
                <c:pt idx="3">
                  <c:v>0.19168329326666833</c:v>
                </c:pt>
                <c:pt idx="4">
                  <c:v>0.56953386976592013</c:v>
                </c:pt>
                <c:pt idx="5">
                  <c:v>0.10787061450752936</c:v>
                </c:pt>
                <c:pt idx="6">
                  <c:v>3.011129866989259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8E-2</c:v>
                </c:pt>
                <c:pt idx="4">
                  <c:v>0.89021699739939097</c:v>
                </c:pt>
                <c:pt idx="5">
                  <c:v>7.281595130021549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2E-2</c:v>
                </c:pt>
                <c:pt idx="4">
                  <c:v>0.83839550714659039</c:v>
                </c:pt>
                <c:pt idx="5">
                  <c:v>0.124722794751214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899443980434349E-2</c:v>
                </c:pt>
                <c:pt idx="1">
                  <c:v>6.9936221072548613E-2</c:v>
                </c:pt>
                <c:pt idx="2">
                  <c:v>0.12263839292931009</c:v>
                </c:pt>
                <c:pt idx="3">
                  <c:v>0.22587718069519325</c:v>
                </c:pt>
                <c:pt idx="4">
                  <c:v>0.3926880605000298</c:v>
                </c:pt>
                <c:pt idx="5">
                  <c:v>0.159579798639448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19687086370011E-2</c:v>
                </c:pt>
                <c:pt idx="1">
                  <c:v>0.15610494674537898</c:v>
                </c:pt>
                <c:pt idx="2">
                  <c:v>2.4983151768837048E-2</c:v>
                </c:pt>
                <c:pt idx="3">
                  <c:v>0.33241322699595138</c:v>
                </c:pt>
                <c:pt idx="4">
                  <c:v>0.44155358609005096</c:v>
                </c:pt>
                <c:pt idx="5">
                  <c:v>1.54219990674024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295936018988206E-2</c:v>
                </c:pt>
                <c:pt idx="1">
                  <c:v>0.15937207117371921</c:v>
                </c:pt>
                <c:pt idx="2">
                  <c:v>3.7684488257838142E-2</c:v>
                </c:pt>
                <c:pt idx="3">
                  <c:v>0.26112921429863639</c:v>
                </c:pt>
                <c:pt idx="4">
                  <c:v>0.46450291190561643</c:v>
                </c:pt>
                <c:pt idx="5">
                  <c:v>1.435125678176883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244581526303865E-3</c:v>
                </c:pt>
                <c:pt idx="1">
                  <c:v>0.13194345924355352</c:v>
                </c:pt>
                <c:pt idx="2">
                  <c:v>1.9551950596549565E-2</c:v>
                </c:pt>
                <c:pt idx="3">
                  <c:v>0.39058342036370747</c:v>
                </c:pt>
                <c:pt idx="4">
                  <c:v>0.44053261070710614</c:v>
                </c:pt>
                <c:pt idx="5">
                  <c:v>1.566410093645300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599</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8658240570478485E-3</c:v>
                </c:pt>
                <c:pt idx="4">
                  <c:v>7.0589384071499334E-3</c:v>
                </c:pt>
                <c:pt idx="5">
                  <c:v>7.065920710086652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89228933701E-2</c:v>
                </c:pt>
                <c:pt idx="2">
                  <c:v>4.1137747582242541E-2</c:v>
                </c:pt>
                <c:pt idx="3">
                  <c:v>0.31355241604004941</c:v>
                </c:pt>
                <c:pt idx="4">
                  <c:v>0.55220862714204089</c:v>
                </c:pt>
                <c:pt idx="5">
                  <c:v>6.277131642793784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110553998569428E-2</c:v>
                </c:pt>
                <c:pt idx="4">
                  <c:v>6.8417967620626852E-2</c:v>
                </c:pt>
                <c:pt idx="5">
                  <c:v>1.604113738252666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5</c:v>
                </c:pt>
                <c:pt idx="4">
                  <c:v>0.59387574108439223</c:v>
                </c:pt>
                <c:pt idx="5">
                  <c:v>5.89874561094732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414795047385217E-2</c:v>
                </c:pt>
                <c:pt idx="4">
                  <c:v>7.3401727640319561E-2</c:v>
                </c:pt>
                <c:pt idx="5">
                  <c:v>1.527106411326292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1325297527232E-2</c:v>
                </c:pt>
                <c:pt idx="2">
                  <c:v>6.8177130023839225E-2</c:v>
                </c:pt>
                <c:pt idx="3">
                  <c:v>0.30918181313914184</c:v>
                </c:pt>
                <c:pt idx="4">
                  <c:v>0.54895850601748686</c:v>
                </c:pt>
                <c:pt idx="5">
                  <c:v>5.88440231994877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6414350186043658E-2</c:v>
                </c:pt>
                <c:pt idx="4">
                  <c:v>8.6260314605398097E-2</c:v>
                </c:pt>
                <c:pt idx="5">
                  <c:v>2.476167350140678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46000868461034E-3</c:v>
                </c:pt>
                <c:pt idx="1">
                  <c:v>7.9127851355647802E-3</c:v>
                </c:pt>
                <c:pt idx="2">
                  <c:v>9.8833451814382384E-2</c:v>
                </c:pt>
                <c:pt idx="3">
                  <c:v>0.1141714758048413</c:v>
                </c:pt>
                <c:pt idx="4">
                  <c:v>0.38273698753851865</c:v>
                </c:pt>
                <c:pt idx="5">
                  <c:v>0.393290699619846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21926824658941E-2</c:v>
                </c:pt>
                <c:pt idx="1">
                  <c:v>8.8029163127424148E-2</c:v>
                </c:pt>
                <c:pt idx="2">
                  <c:v>0.14284168638962264</c:v>
                </c:pt>
                <c:pt idx="3">
                  <c:v>0.22197384656282371</c:v>
                </c:pt>
                <c:pt idx="4">
                  <c:v>0.36551887254863047</c:v>
                </c:pt>
                <c:pt idx="5">
                  <c:v>0.1485237048277909</c:v>
                </c:pt>
                <c:pt idx="6">
                  <c:v>3.890799719049167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12157272459764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4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6705518922463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682222764157067E-3</c:v>
                </c:pt>
                <c:pt idx="1">
                  <c:v>7.8945305898618591E-4</c:v>
                </c:pt>
                <c:pt idx="2">
                  <c:v>9.0252103185351429E-2</c:v>
                </c:pt>
                <c:pt idx="3">
                  <c:v>0.1171313557101295</c:v>
                </c:pt>
                <c:pt idx="4">
                  <c:v>0.39028051997850438</c:v>
                </c:pt>
                <c:pt idx="5">
                  <c:v>0.400478345790612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474430728606346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65385076760837E-2</c:v>
                </c:pt>
                <c:pt idx="1">
                  <c:v>6.769019309011845E-2</c:v>
                </c:pt>
                <c:pt idx="2">
                  <c:v>0.2155827171638198</c:v>
                </c:pt>
                <c:pt idx="3">
                  <c:v>0.48406983154121125</c:v>
                </c:pt>
                <c:pt idx="4">
                  <c:v>0.20698825809317256</c:v>
                </c:pt>
                <c:pt idx="5">
                  <c:v>1.05036150349171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1</c:v>
                </c:pt>
                <c:pt idx="5">
                  <c:v>1.388755536428036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301996601009916E-2</c:v>
                </c:pt>
                <c:pt idx="1">
                  <c:v>7.1126025878935378E-2</c:v>
                </c:pt>
                <c:pt idx="2">
                  <c:v>0.23033524417359652</c:v>
                </c:pt>
                <c:pt idx="3">
                  <c:v>0.46134285060537805</c:v>
                </c:pt>
                <c:pt idx="4">
                  <c:v>0.19716732528025699</c:v>
                </c:pt>
                <c:pt idx="5">
                  <c:v>1.472655746082315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4575245525553756E-3</c:v>
                </c:pt>
                <c:pt idx="4">
                  <c:v>6.325081119195046E-3</c:v>
                </c:pt>
                <c:pt idx="5">
                  <c:v>5.983026531854961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810004802424E-3</c:v>
                </c:pt>
                <c:pt idx="2">
                  <c:v>6.5371844667268725E-2</c:v>
                </c:pt>
                <c:pt idx="3">
                  <c:v>0.18285905725428619</c:v>
                </c:pt>
                <c:pt idx="4">
                  <c:v>0.5880937669185049</c:v>
                </c:pt>
                <c:pt idx="5">
                  <c:v>0.1576957924175024</c:v>
                </c:pt>
                <c:pt idx="6">
                  <c:v>3.970535465747346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22</c:v>
                </c:pt>
                <c:pt idx="4">
                  <c:v>0.56644603950565164</c:v>
                </c:pt>
                <c:pt idx="5">
                  <c:v>0.19549927143426438</c:v>
                </c:pt>
                <c:pt idx="6">
                  <c:v>8.1053550458520243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942843330246545E-3</c:v>
                </c:pt>
                <c:pt idx="2">
                  <c:v>9.7506639456964889E-2</c:v>
                </c:pt>
                <c:pt idx="3">
                  <c:v>0.19168329326666833</c:v>
                </c:pt>
                <c:pt idx="4">
                  <c:v>0.56953386976592013</c:v>
                </c:pt>
                <c:pt idx="5">
                  <c:v>0.10787061450752936</c:v>
                </c:pt>
                <c:pt idx="6">
                  <c:v>3.011129866989259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8E-2</c:v>
                </c:pt>
                <c:pt idx="4">
                  <c:v>0.89021699739939097</c:v>
                </c:pt>
                <c:pt idx="5">
                  <c:v>7.281595130021549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2E-2</c:v>
                </c:pt>
                <c:pt idx="4">
                  <c:v>0.83839550714659039</c:v>
                </c:pt>
                <c:pt idx="5">
                  <c:v>0.1247227947512141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7894799189421E-3</c:v>
                </c:pt>
                <c:pt idx="1">
                  <c:v>3.8221977250803986E-2</c:v>
                </c:pt>
                <c:pt idx="2">
                  <c:v>0.12804261363486491</c:v>
                </c:pt>
                <c:pt idx="3">
                  <c:v>0.2579541169363222</c:v>
                </c:pt>
                <c:pt idx="4">
                  <c:v>0.41149259607783301</c:v>
                </c:pt>
                <c:pt idx="5">
                  <c:v>0.15866418882005121</c:v>
                </c:pt>
                <c:pt idx="6">
                  <c:v>7.666124809351970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19687086370011E-2</c:v>
                </c:pt>
                <c:pt idx="1">
                  <c:v>0.15610494674537898</c:v>
                </c:pt>
                <c:pt idx="2">
                  <c:v>2.4983151768837048E-2</c:v>
                </c:pt>
                <c:pt idx="3">
                  <c:v>0.33241322699595138</c:v>
                </c:pt>
                <c:pt idx="4">
                  <c:v>0.44155358609005096</c:v>
                </c:pt>
                <c:pt idx="5">
                  <c:v>1.54219990674024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295936018988206E-2</c:v>
                </c:pt>
                <c:pt idx="1">
                  <c:v>0.15937207117371921</c:v>
                </c:pt>
                <c:pt idx="2">
                  <c:v>3.7684488257838142E-2</c:v>
                </c:pt>
                <c:pt idx="3">
                  <c:v>0.26112921429863639</c:v>
                </c:pt>
                <c:pt idx="4">
                  <c:v>0.46450291190561643</c:v>
                </c:pt>
                <c:pt idx="5">
                  <c:v>1.435125678176883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244581526303865E-3</c:v>
                </c:pt>
                <c:pt idx="1">
                  <c:v>0.13194345924355352</c:v>
                </c:pt>
                <c:pt idx="2">
                  <c:v>1.9551950596549565E-2</c:v>
                </c:pt>
                <c:pt idx="3">
                  <c:v>0.39058342036370747</c:v>
                </c:pt>
                <c:pt idx="4">
                  <c:v>0.44053261070710614</c:v>
                </c:pt>
                <c:pt idx="5">
                  <c:v>1.566410093645300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3.6449891212230411E-3</c:v>
                </c:pt>
                <c:pt idx="3">
                  <c:v>1.7075224275874532E-3</c:v>
                </c:pt>
                <c:pt idx="4">
                  <c:v>6.3086798193432827E-3</c:v>
                </c:pt>
                <c:pt idx="5">
                  <c:v>3.134661749438467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6.3858925351200314E-3</c:v>
                </c:pt>
                <c:pt idx="3">
                  <c:v>2.9915191407270925E-3</c:v>
                </c:pt>
                <c:pt idx="4">
                  <c:v>1.1052584802033345E-2</c:v>
                </c:pt>
                <c:pt idx="5">
                  <c:v>5.491816957508145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34E-3</c:v>
                </c:pt>
                <c:pt idx="1">
                  <c:v>4.0453124052177082E-2</c:v>
                </c:pt>
                <c:pt idx="2">
                  <c:v>0.12468065232928348</c:v>
                </c:pt>
                <c:pt idx="3">
                  <c:v>0.24066929757465191</c:v>
                </c:pt>
                <c:pt idx="4">
                  <c:v>0.4235016609865862</c:v>
                </c:pt>
                <c:pt idx="5">
                  <c:v>0.166092079765411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9.9448764407935319E-3</c:v>
                </c:pt>
                <c:pt idx="3">
                  <c:v>2.4415242697922519E-3</c:v>
                </c:pt>
                <c:pt idx="4">
                  <c:v>1.0215575661117129E-2</c:v>
                </c:pt>
                <c:pt idx="5">
                  <c:v>7.630816424470539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3239934574478192E-3</c:v>
                </c:pt>
                <c:pt idx="1">
                  <c:v>3.6253296017058956E-2</c:v>
                </c:pt>
                <c:pt idx="2">
                  <c:v>0.1376689147191372</c:v>
                </c:pt>
                <c:pt idx="3">
                  <c:v>0.2654072694888866</c:v>
                </c:pt>
                <c:pt idx="4">
                  <c:v>0.40285776763256737</c:v>
                </c:pt>
                <c:pt idx="5">
                  <c:v>0.14524955520144489</c:v>
                </c:pt>
                <c:pt idx="6">
                  <c:v>5.239203483457179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6.9947811858568432E-3</c:v>
                </c:pt>
                <c:pt idx="3">
                  <c:v>4.501914675469937E-3</c:v>
                </c:pt>
                <c:pt idx="4">
                  <c:v>1.1810000886941539E-2</c:v>
                </c:pt>
                <c:pt idx="5">
                  <c:v>6.713056773440864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5469255993853</c:v>
                </c:pt>
                <c:pt idx="4">
                  <c:v>2.5019581296125446E-2</c:v>
                </c:pt>
                <c:pt idx="5">
                  <c:v>0.47511897357370908</c:v>
                </c:pt>
                <c:pt idx="6">
                  <c:v>2.154188326871531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3014811570907</c:v>
                </c:pt>
                <c:pt idx="4">
                  <c:v>3.1886401699219143E-2</c:v>
                </c:pt>
                <c:pt idx="5">
                  <c:v>0.452583450185071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899443980434349E-2</c:v>
                </c:pt>
                <c:pt idx="1">
                  <c:v>6.9936221072548613E-2</c:v>
                </c:pt>
                <c:pt idx="2">
                  <c:v>0.12263839292931009</c:v>
                </c:pt>
                <c:pt idx="3">
                  <c:v>0.22587718069519325</c:v>
                </c:pt>
                <c:pt idx="4">
                  <c:v>0.3926880605000298</c:v>
                </c:pt>
                <c:pt idx="5">
                  <c:v>0.159579798639448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177561024199167E-3</c:v>
                </c:pt>
                <c:pt idx="1">
                  <c:v>3.2027653167575096E-2</c:v>
                </c:pt>
                <c:pt idx="2">
                  <c:v>2.3524044420734705E-3</c:v>
                </c:pt>
                <c:pt idx="3">
                  <c:v>0.38242026159328435</c:v>
                </c:pt>
                <c:pt idx="4">
                  <c:v>0.56747496286225174</c:v>
                </c:pt>
                <c:pt idx="5">
                  <c:v>1.440696183239552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338356994032058E-4</c:v>
                </c:pt>
                <c:pt idx="1">
                  <c:v>1.9618191826917E-2</c:v>
                </c:pt>
                <c:pt idx="2">
                  <c:v>7.402755160323117E-4</c:v>
                </c:pt>
                <c:pt idx="3">
                  <c:v>0.32972950609608248</c:v>
                </c:pt>
                <c:pt idx="4">
                  <c:v>0.6455594961322717</c:v>
                </c:pt>
                <c:pt idx="5">
                  <c:v>3.6391468587563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8965406986938915E-3</c:v>
                </c:pt>
                <c:pt idx="1">
                  <c:v>4.8952596641094387E-2</c:v>
                </c:pt>
                <c:pt idx="2">
                  <c:v>2.2539736883549011E-3</c:v>
                </c:pt>
                <c:pt idx="3">
                  <c:v>0.47501720035688511</c:v>
                </c:pt>
                <c:pt idx="4">
                  <c:v>0.45597700238592082</c:v>
                </c:pt>
                <c:pt idx="5">
                  <c:v>1.590268622905085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7894799189421E-3</c:v>
                </c:pt>
                <c:pt idx="1">
                  <c:v>3.8221977250803986E-2</c:v>
                </c:pt>
                <c:pt idx="2">
                  <c:v>0.12804261363486491</c:v>
                </c:pt>
                <c:pt idx="3">
                  <c:v>0.2579541169363222</c:v>
                </c:pt>
                <c:pt idx="4">
                  <c:v>0.41149259607783301</c:v>
                </c:pt>
                <c:pt idx="5">
                  <c:v>0.15866418882005121</c:v>
                </c:pt>
                <c:pt idx="6">
                  <c:v>7.666124809351970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71567498881352E-2</c:v>
                </c:pt>
                <c:pt idx="2">
                  <c:v>6.7282821439847403E-3</c:v>
                </c:pt>
                <c:pt idx="3">
                  <c:v>4.2387919030290929E-3</c:v>
                </c:pt>
                <c:pt idx="4">
                  <c:v>8.2575413909866946E-3</c:v>
                </c:pt>
                <c:pt idx="5">
                  <c:v>1.644706664806886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34E-3</c:v>
                </c:pt>
                <c:pt idx="1">
                  <c:v>4.0453124052177082E-2</c:v>
                </c:pt>
                <c:pt idx="2">
                  <c:v>0.12468065232928348</c:v>
                </c:pt>
                <c:pt idx="3">
                  <c:v>0.24066929757465191</c:v>
                </c:pt>
                <c:pt idx="4">
                  <c:v>0.4235016609865862</c:v>
                </c:pt>
                <c:pt idx="5">
                  <c:v>0.166092079765411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6.1291545320060212E-3</c:v>
                </c:pt>
                <c:pt idx="3">
                  <c:v>1.504742631272532E-3</c:v>
                </c:pt>
                <c:pt idx="4">
                  <c:v>6.2959899233690619E-3</c:v>
                </c:pt>
                <c:pt idx="5">
                  <c:v>4.702969750242329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7543291482773286E-2</c:v>
                </c:pt>
                <c:pt idx="2">
                  <c:v>8.6651828256586721E-3</c:v>
                </c:pt>
                <c:pt idx="3">
                  <c:v>1.0766128853804109E-3</c:v>
                </c:pt>
                <c:pt idx="4">
                  <c:v>1.0776193913363263E-2</c:v>
                </c:pt>
                <c:pt idx="5">
                  <c:v>2.279516032290979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3239934574478192E-3</c:v>
                </c:pt>
                <c:pt idx="1">
                  <c:v>3.6253296017058956E-2</c:v>
                </c:pt>
                <c:pt idx="2">
                  <c:v>0.1376689147191372</c:v>
                </c:pt>
                <c:pt idx="3">
                  <c:v>0.2654072694888866</c:v>
                </c:pt>
                <c:pt idx="4">
                  <c:v>0.40285776763256737</c:v>
                </c:pt>
                <c:pt idx="5">
                  <c:v>0.14524955520144489</c:v>
                </c:pt>
                <c:pt idx="6">
                  <c:v>5.239203483457179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3167420955609284E-2</c:v>
                </c:pt>
                <c:pt idx="2">
                  <c:v>8.5776813174141646E-3</c:v>
                </c:pt>
                <c:pt idx="3">
                  <c:v>3.6944762042968125E-3</c:v>
                </c:pt>
                <c:pt idx="4">
                  <c:v>1.312996370238396E-2</c:v>
                </c:pt>
                <c:pt idx="5">
                  <c:v>8.0066820486395798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5469255993853</c:v>
                </c:pt>
                <c:pt idx="4">
                  <c:v>2.5019581296125446E-2</c:v>
                </c:pt>
                <c:pt idx="5">
                  <c:v>0.47511897357370908</c:v>
                </c:pt>
                <c:pt idx="6">
                  <c:v>2.154188326871531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3014811570907</c:v>
                </c:pt>
                <c:pt idx="4">
                  <c:v>3.1886401699219143E-2</c:v>
                </c:pt>
                <c:pt idx="5">
                  <c:v>0.452583450185071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177561024199167E-3</c:v>
                </c:pt>
                <c:pt idx="1">
                  <c:v>3.2027653167575096E-2</c:v>
                </c:pt>
                <c:pt idx="2">
                  <c:v>2.3524044420734705E-3</c:v>
                </c:pt>
                <c:pt idx="3">
                  <c:v>0.38242026159328435</c:v>
                </c:pt>
                <c:pt idx="4">
                  <c:v>0.56747496286225174</c:v>
                </c:pt>
                <c:pt idx="5">
                  <c:v>1.440696183239552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221926824658941E-2</c:v>
                </c:pt>
                <c:pt idx="1">
                  <c:v>8.8029163127424148E-2</c:v>
                </c:pt>
                <c:pt idx="2">
                  <c:v>0.14284168638962264</c:v>
                </c:pt>
                <c:pt idx="3">
                  <c:v>0.22197384656282371</c:v>
                </c:pt>
                <c:pt idx="4">
                  <c:v>0.36551887254863047</c:v>
                </c:pt>
                <c:pt idx="5">
                  <c:v>0.1485237048277909</c:v>
                </c:pt>
                <c:pt idx="6">
                  <c:v>3.8907997190491678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5.1722718580729009E-3</c:v>
                </c:pt>
                <c:pt idx="4">
                  <c:v>3.691210355428745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338356994032058E-4</c:v>
                </c:pt>
                <c:pt idx="1">
                  <c:v>1.9618191826917E-2</c:v>
                </c:pt>
                <c:pt idx="2">
                  <c:v>7.402755160323117E-4</c:v>
                </c:pt>
                <c:pt idx="3">
                  <c:v>0.32972950609608248</c:v>
                </c:pt>
                <c:pt idx="4">
                  <c:v>0.6455594961322717</c:v>
                </c:pt>
                <c:pt idx="5">
                  <c:v>3.6391468587563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9982796049871918E-3</c:v>
                </c:pt>
                <c:pt idx="4">
                  <c:v>9.26966531019400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8965406986938915E-3</c:v>
                </c:pt>
                <c:pt idx="1">
                  <c:v>4.8952596641094387E-2</c:v>
                </c:pt>
                <c:pt idx="2">
                  <c:v>2.2539736883549011E-3</c:v>
                </c:pt>
                <c:pt idx="3">
                  <c:v>0.47501720035688511</c:v>
                </c:pt>
                <c:pt idx="4">
                  <c:v>0.45597700238592082</c:v>
                </c:pt>
                <c:pt idx="5">
                  <c:v>1.590268622905085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7894799189421E-3</c:v>
                </c:pt>
                <c:pt idx="1">
                  <c:v>3.8221977250803986E-2</c:v>
                </c:pt>
                <c:pt idx="2">
                  <c:v>0.12804261363486491</c:v>
                </c:pt>
                <c:pt idx="3">
                  <c:v>0.2579541169363222</c:v>
                </c:pt>
                <c:pt idx="4">
                  <c:v>0.41149259607783301</c:v>
                </c:pt>
                <c:pt idx="5">
                  <c:v>0.15866418882005121</c:v>
                </c:pt>
                <c:pt idx="6">
                  <c:v>7.666124809351970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0290960806405704E-3</c:v>
                </c:pt>
                <c:pt idx="4">
                  <c:v>1.030526546308852E-2</c:v>
                </c:pt>
                <c:pt idx="5">
                  <c:v>5.091109390956559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34E-3</c:v>
                </c:pt>
                <c:pt idx="1">
                  <c:v>4.0453124052177082E-2</c:v>
                </c:pt>
                <c:pt idx="2">
                  <c:v>0.12468065232928348</c:v>
                </c:pt>
                <c:pt idx="3">
                  <c:v>0.24066929757465191</c:v>
                </c:pt>
                <c:pt idx="4">
                  <c:v>0.4235016609865862</c:v>
                </c:pt>
                <c:pt idx="5">
                  <c:v>0.166092079765411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0273979242497469E-3</c:v>
                </c:pt>
                <c:pt idx="4">
                  <c:v>1.0885058477386517E-2</c:v>
                </c:pt>
                <c:pt idx="5">
                  <c:v>6.500556347624684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3239934574478192E-3</c:v>
                </c:pt>
                <c:pt idx="1">
                  <c:v>3.6253296017058956E-2</c:v>
                </c:pt>
                <c:pt idx="2">
                  <c:v>0.1376689147191372</c:v>
                </c:pt>
                <c:pt idx="3">
                  <c:v>0.2654072694888866</c:v>
                </c:pt>
                <c:pt idx="4">
                  <c:v>0.40285776763256737</c:v>
                </c:pt>
                <c:pt idx="5">
                  <c:v>0.14524955520144489</c:v>
                </c:pt>
                <c:pt idx="6">
                  <c:v>5.2392034834571792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2.8467978089494776E-3</c:v>
                </c:pt>
                <c:pt idx="3">
                  <c:v>1.832228985249577E-3</c:v>
                </c:pt>
                <c:pt idx="4">
                  <c:v>4.806538439918062E-3</c:v>
                </c:pt>
                <c:pt idx="5">
                  <c:v>2.732139120037946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6.0383095876903803E-3</c:v>
                </c:pt>
                <c:pt idx="4">
                  <c:v>1.4303879708351728E-2</c:v>
                </c:pt>
                <c:pt idx="5">
                  <c:v>7.2377742294492259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5469255993853</c:v>
                </c:pt>
                <c:pt idx="4">
                  <c:v>2.5019581296125446E-2</c:v>
                </c:pt>
                <c:pt idx="5">
                  <c:v>0.47511897357370908</c:v>
                </c:pt>
                <c:pt idx="6">
                  <c:v>2.154188326871531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8.71734443266597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9.518821305351296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3014811570907</c:v>
                </c:pt>
                <c:pt idx="4">
                  <c:v>3.1886401699219143E-2</c:v>
                </c:pt>
                <c:pt idx="5">
                  <c:v>0.452583450185071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0.1121405586234327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177561024199167E-3</c:v>
                </c:pt>
                <c:pt idx="1">
                  <c:v>3.2027653167575096E-2</c:v>
                </c:pt>
                <c:pt idx="2">
                  <c:v>2.3524044420734705E-3</c:v>
                </c:pt>
                <c:pt idx="3">
                  <c:v>0.38242026159328435</c:v>
                </c:pt>
                <c:pt idx="4">
                  <c:v>0.56747496286225174</c:v>
                </c:pt>
                <c:pt idx="5">
                  <c:v>1.440696183239552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848874822783097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1338356994032058E-4</c:v>
                </c:pt>
                <c:pt idx="1">
                  <c:v>1.9618191826917E-2</c:v>
                </c:pt>
                <c:pt idx="2">
                  <c:v>7.402755160323117E-4</c:v>
                </c:pt>
                <c:pt idx="3">
                  <c:v>0.32972950609608248</c:v>
                </c:pt>
                <c:pt idx="4">
                  <c:v>0.6455594961322717</c:v>
                </c:pt>
                <c:pt idx="5">
                  <c:v>3.6391468587563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7120963405814161E-2</c:v>
                </c:pt>
                <c:pt idx="1">
                  <c:v>7.3723027864980917E-2</c:v>
                </c:pt>
                <c:pt idx="2">
                  <c:v>0.12766201692065168</c:v>
                </c:pt>
                <c:pt idx="3">
                  <c:v>0.23425237068395854</c:v>
                </c:pt>
                <c:pt idx="4">
                  <c:v>0.38278733061914982</c:v>
                </c:pt>
                <c:pt idx="5">
                  <c:v>0.15359411735454917</c:v>
                </c:pt>
                <c:pt idx="6">
                  <c:v>8.6017315089557554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189429626420302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8965406986938915E-3</c:v>
                </c:pt>
                <c:pt idx="1">
                  <c:v>4.8952596641094387E-2</c:v>
                </c:pt>
                <c:pt idx="2">
                  <c:v>2.2539736883549011E-3</c:v>
                </c:pt>
                <c:pt idx="3">
                  <c:v>0.47501720035688511</c:v>
                </c:pt>
                <c:pt idx="4">
                  <c:v>0.45597700238592082</c:v>
                </c:pt>
                <c:pt idx="5">
                  <c:v>1.590268622905085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02286355530656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2332068254325133E-2</c:v>
                </c:pt>
                <c:pt idx="3">
                  <c:v>2.4515348950153868E-2</c:v>
                </c:pt>
                <c:pt idx="4">
                  <c:v>8.5179748515055095E-2</c:v>
                </c:pt>
                <c:pt idx="5">
                  <c:v>3.96119252888557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599</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7.8700417513986307E-2</c:v>
                </c:pt>
                <c:pt idx="3">
                  <c:v>1.932140439824797E-2</c:v>
                </c:pt>
                <c:pt idx="4">
                  <c:v>7.1782763875395186E-2</c:v>
                </c:pt>
                <c:pt idx="5">
                  <c:v>5.28471806365719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2604146335066902E-2</c:v>
                </c:pt>
                <c:pt idx="3">
                  <c:v>3.3856581368870375E-2</c:v>
                </c:pt>
                <c:pt idx="4">
                  <c:v>8.5025244020544052E-2</c:v>
                </c:pt>
                <c:pt idx="5">
                  <c:v>4.373994730233104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89228933701E-2</c:v>
                </c:pt>
                <c:pt idx="2">
                  <c:v>4.1137747582242541E-2</c:v>
                </c:pt>
                <c:pt idx="3">
                  <c:v>0.31355241604004941</c:v>
                </c:pt>
                <c:pt idx="4">
                  <c:v>0.55220862714204089</c:v>
                </c:pt>
                <c:pt idx="5">
                  <c:v>6.277131642793784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6.490751229639497E-3</c:v>
                </c:pt>
                <c:pt idx="2">
                  <c:v>3.8404209097581761E-3</c:v>
                </c:pt>
                <c:pt idx="3">
                  <c:v>2.5127442394987094E-3</c:v>
                </c:pt>
                <c:pt idx="4">
                  <c:v>5.3790980184955347E-3</c:v>
                </c:pt>
                <c:pt idx="5">
                  <c:v>9.3877838811946889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4.3712607228510603E-3</c:v>
                </c:pt>
                <c:pt idx="5">
                  <c:v>4.369324731405162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5</c:v>
                </c:pt>
                <c:pt idx="4">
                  <c:v>0.59387574108439223</c:v>
                </c:pt>
                <c:pt idx="5">
                  <c:v>5.89874561094732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7.7200506253627989E-3</c:v>
                </c:pt>
                <c:pt idx="5">
                  <c:v>6.425403785250638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1325297527232E-2</c:v>
                </c:pt>
                <c:pt idx="2">
                  <c:v>6.8177130023839225E-2</c:v>
                </c:pt>
                <c:pt idx="3">
                  <c:v>0.30918181313914184</c:v>
                </c:pt>
                <c:pt idx="4">
                  <c:v>0.54895850601748686</c:v>
                </c:pt>
                <c:pt idx="5">
                  <c:v>5.88440231994877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3.0404936380131753E-3</c:v>
                </c:pt>
                <c:pt idx="5">
                  <c:v>5.409101850837309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46000868461034E-3</c:v>
                </c:pt>
                <c:pt idx="1">
                  <c:v>7.9127851355647802E-3</c:v>
                </c:pt>
                <c:pt idx="2">
                  <c:v>9.8833451814382384E-2</c:v>
                </c:pt>
                <c:pt idx="3">
                  <c:v>0.1141714758048413</c:v>
                </c:pt>
                <c:pt idx="4">
                  <c:v>0.38273698753851865</c:v>
                </c:pt>
                <c:pt idx="5">
                  <c:v>0.393290699619846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4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682222764157067E-3</c:v>
                </c:pt>
                <c:pt idx="1">
                  <c:v>7.8945305898618591E-4</c:v>
                </c:pt>
                <c:pt idx="2">
                  <c:v>9.0252103185351429E-2</c:v>
                </c:pt>
                <c:pt idx="3">
                  <c:v>0.1171313557101295</c:v>
                </c:pt>
                <c:pt idx="4">
                  <c:v>0.39028051997850438</c:v>
                </c:pt>
                <c:pt idx="5">
                  <c:v>0.400478345790612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899443980434349E-2</c:v>
                </c:pt>
                <c:pt idx="1">
                  <c:v>6.9936221072548613E-2</c:v>
                </c:pt>
                <c:pt idx="2">
                  <c:v>0.12263839292931009</c:v>
                </c:pt>
                <c:pt idx="3">
                  <c:v>0.22587718069519325</c:v>
                </c:pt>
                <c:pt idx="4">
                  <c:v>0.3926880605000298</c:v>
                </c:pt>
                <c:pt idx="5">
                  <c:v>0.159579798639448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65385076760837E-2</c:v>
                </c:pt>
                <c:pt idx="1">
                  <c:v>6.769019309011845E-2</c:v>
                </c:pt>
                <c:pt idx="2">
                  <c:v>0.2155827171638198</c:v>
                </c:pt>
                <c:pt idx="3">
                  <c:v>0.48406983154121125</c:v>
                </c:pt>
                <c:pt idx="4">
                  <c:v>0.20698825809317256</c:v>
                </c:pt>
                <c:pt idx="5">
                  <c:v>1.05036150349171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1</c:v>
                </c:pt>
                <c:pt idx="5">
                  <c:v>1.388755536428036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301996601009916E-2</c:v>
                </c:pt>
                <c:pt idx="1">
                  <c:v>7.1126025878935378E-2</c:v>
                </c:pt>
                <c:pt idx="2">
                  <c:v>0.23033524417359652</c:v>
                </c:pt>
                <c:pt idx="3">
                  <c:v>0.46134285060537805</c:v>
                </c:pt>
                <c:pt idx="4">
                  <c:v>0.19716732528025699</c:v>
                </c:pt>
                <c:pt idx="5">
                  <c:v>1.472655746082315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810004802424E-3</c:v>
                </c:pt>
                <c:pt idx="2">
                  <c:v>6.5371844667268725E-2</c:v>
                </c:pt>
                <c:pt idx="3">
                  <c:v>0.18285905725428619</c:v>
                </c:pt>
                <c:pt idx="4">
                  <c:v>0.5880937669185049</c:v>
                </c:pt>
                <c:pt idx="5">
                  <c:v>0.1576957924175024</c:v>
                </c:pt>
                <c:pt idx="6">
                  <c:v>3.970535465747346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22</c:v>
                </c:pt>
                <c:pt idx="4">
                  <c:v>0.56644603950565164</c:v>
                </c:pt>
                <c:pt idx="5">
                  <c:v>0.19549927143426438</c:v>
                </c:pt>
                <c:pt idx="6">
                  <c:v>8.1053550458520243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9354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068797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57089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46571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3280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293022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7927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688222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8495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012846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8030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0017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25952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72628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556949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60356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466540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30556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892430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066673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42873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98521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946436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56728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20783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095208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398975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504323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96118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6511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03745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8900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761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619730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293780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89431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819377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502600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618594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19984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621041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83521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912431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59979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71876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316799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607692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106174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59810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987808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49295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126065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77779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005132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46833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840728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311844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067542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852176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68620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842889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137229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45779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4930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50201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587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4753</Words>
  <Application>Microsoft Office PowerPoint</Application>
  <PresentationFormat>On-screen Show (16:9)</PresentationFormat>
  <Paragraphs>1385</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2:3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